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</p:sldMasterIdLst>
  <p:notesMasterIdLst>
    <p:notesMasterId r:id="rId28"/>
  </p:notesMasterIdLst>
  <p:handoutMasterIdLst>
    <p:handoutMasterId r:id="rId29"/>
  </p:handoutMasterIdLst>
  <p:sldIdLst>
    <p:sldId id="445" r:id="rId6"/>
    <p:sldId id="497" r:id="rId7"/>
    <p:sldId id="498" r:id="rId8"/>
    <p:sldId id="500" r:id="rId9"/>
    <p:sldId id="501" r:id="rId10"/>
    <p:sldId id="502" r:id="rId11"/>
    <p:sldId id="503" r:id="rId12"/>
    <p:sldId id="504" r:id="rId13"/>
    <p:sldId id="505" r:id="rId14"/>
    <p:sldId id="506" r:id="rId15"/>
    <p:sldId id="507" r:id="rId16"/>
    <p:sldId id="508" r:id="rId17"/>
    <p:sldId id="509" r:id="rId18"/>
    <p:sldId id="510" r:id="rId19"/>
    <p:sldId id="511" r:id="rId20"/>
    <p:sldId id="512" r:id="rId21"/>
    <p:sldId id="513" r:id="rId22"/>
    <p:sldId id="514" r:id="rId23"/>
    <p:sldId id="515" r:id="rId24"/>
    <p:sldId id="518" r:id="rId25"/>
    <p:sldId id="520" r:id="rId26"/>
    <p:sldId id="519" r:id="rId2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446E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323" autoAdjust="0"/>
    <p:restoredTop sz="94434" autoAdjust="0"/>
  </p:normalViewPr>
  <p:slideViewPr>
    <p:cSldViewPr snapToGrid="0" snapToObjects="1">
      <p:cViewPr varScale="1">
        <p:scale>
          <a:sx n="73" d="100"/>
          <a:sy n="73" d="100"/>
        </p:scale>
        <p:origin x="1398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7" d="100"/>
          <a:sy n="57" d="100"/>
        </p:scale>
        <p:origin x="-2520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A8CFBE-9896-46E5-8B97-A6E174662C3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EEC6BBCE-936B-40AE-8C57-670F220D9A80}">
      <dgm:prSet phldrT="[Texto]"/>
      <dgm:spPr/>
      <dgm:t>
        <a:bodyPr/>
        <a:lstStyle/>
        <a:p>
          <a:r>
            <a:rPr lang="es-CO" dirty="0" smtClean="0"/>
            <a:t>Taller</a:t>
          </a:r>
          <a:endParaRPr lang="es-CO" dirty="0"/>
        </a:p>
      </dgm:t>
    </dgm:pt>
    <dgm:pt modelId="{5623B46A-A661-4B69-B9A2-B1A3B8FFF390}" type="parTrans" cxnId="{50F5F39A-3CD0-4BFC-9559-9E40638EC767}">
      <dgm:prSet/>
      <dgm:spPr/>
      <dgm:t>
        <a:bodyPr/>
        <a:lstStyle/>
        <a:p>
          <a:endParaRPr lang="es-CO"/>
        </a:p>
      </dgm:t>
    </dgm:pt>
    <dgm:pt modelId="{6484475B-5AAF-4C27-B4B6-34AD2D15BD06}" type="sibTrans" cxnId="{50F5F39A-3CD0-4BFC-9559-9E40638EC767}">
      <dgm:prSet/>
      <dgm:spPr/>
      <dgm:t>
        <a:bodyPr/>
        <a:lstStyle/>
        <a:p>
          <a:endParaRPr lang="es-CO"/>
        </a:p>
      </dgm:t>
    </dgm:pt>
    <dgm:pt modelId="{27188821-4F89-4FE4-8F16-48C32C3527DC}">
      <dgm:prSet phldrT="[Texto]"/>
      <dgm:spPr/>
      <dgm:t>
        <a:bodyPr/>
        <a:lstStyle/>
        <a:p>
          <a:r>
            <a:rPr lang="es-CO" u="sng" dirty="0" smtClean="0">
              <a:solidFill>
                <a:schemeClr val="tx2">
                  <a:lumMod val="75000"/>
                </a:schemeClr>
              </a:solidFill>
            </a:rPr>
            <a:t>Taller solicitud de Viaje</a:t>
          </a:r>
          <a:endParaRPr lang="es-CO" u="sng" dirty="0">
            <a:solidFill>
              <a:schemeClr val="tx2">
                <a:lumMod val="75000"/>
              </a:schemeClr>
            </a:solidFill>
          </a:endParaRPr>
        </a:p>
      </dgm:t>
    </dgm:pt>
    <dgm:pt modelId="{54BBD027-F203-443F-8318-4B0D2BC27A68}" type="sibTrans" cxnId="{0A4F5871-A12E-4534-BB0E-ACBF64E5ACBD}">
      <dgm:prSet/>
      <dgm:spPr/>
      <dgm:t>
        <a:bodyPr/>
        <a:lstStyle/>
        <a:p>
          <a:endParaRPr lang="es-CO"/>
        </a:p>
      </dgm:t>
    </dgm:pt>
    <dgm:pt modelId="{77EA62EF-9688-4C86-8896-F1073C4A2273}" type="parTrans" cxnId="{0A4F5871-A12E-4534-BB0E-ACBF64E5ACBD}">
      <dgm:prSet/>
      <dgm:spPr/>
      <dgm:t>
        <a:bodyPr/>
        <a:lstStyle/>
        <a:p>
          <a:endParaRPr lang="es-CO"/>
        </a:p>
      </dgm:t>
    </dgm:pt>
    <dgm:pt modelId="{651CC650-09FA-4DE3-8CB5-518B4626501C}" type="pres">
      <dgm:prSet presAssocID="{CFA8CFBE-9896-46E5-8B97-A6E174662C3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AEF5020-130D-4FB5-81A3-8589F43EE2F4}" type="pres">
      <dgm:prSet presAssocID="{EEC6BBCE-936B-40AE-8C57-670F220D9A80}" presName="parentLin" presStyleCnt="0"/>
      <dgm:spPr/>
      <dgm:t>
        <a:bodyPr/>
        <a:lstStyle/>
        <a:p>
          <a:endParaRPr lang="es-CO"/>
        </a:p>
      </dgm:t>
    </dgm:pt>
    <dgm:pt modelId="{304F945B-7270-416B-B193-632961508E3B}" type="pres">
      <dgm:prSet presAssocID="{EEC6BBCE-936B-40AE-8C57-670F220D9A80}" presName="parentLeftMargin" presStyleLbl="node1" presStyleIdx="0" presStyleCnt="1"/>
      <dgm:spPr/>
      <dgm:t>
        <a:bodyPr/>
        <a:lstStyle/>
        <a:p>
          <a:endParaRPr lang="es-CO"/>
        </a:p>
      </dgm:t>
    </dgm:pt>
    <dgm:pt modelId="{EEF23D9F-D82E-421D-8C66-7D78F9C2C76D}" type="pres">
      <dgm:prSet presAssocID="{EEC6BBCE-936B-40AE-8C57-670F220D9A8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BB0BFBA-9C29-4F24-9B10-B2C45040D2F5}" type="pres">
      <dgm:prSet presAssocID="{EEC6BBCE-936B-40AE-8C57-670F220D9A80}" presName="negativeSpace" presStyleCnt="0"/>
      <dgm:spPr/>
      <dgm:t>
        <a:bodyPr/>
        <a:lstStyle/>
        <a:p>
          <a:endParaRPr lang="es-CO"/>
        </a:p>
      </dgm:t>
    </dgm:pt>
    <dgm:pt modelId="{9933C820-BB3C-455A-A3A6-E1820F9D7A90}" type="pres">
      <dgm:prSet presAssocID="{EEC6BBCE-936B-40AE-8C57-670F220D9A80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A4F5871-A12E-4534-BB0E-ACBF64E5ACBD}" srcId="{EEC6BBCE-936B-40AE-8C57-670F220D9A80}" destId="{27188821-4F89-4FE4-8F16-48C32C3527DC}" srcOrd="0" destOrd="0" parTransId="{77EA62EF-9688-4C86-8896-F1073C4A2273}" sibTransId="{54BBD027-F203-443F-8318-4B0D2BC27A68}"/>
    <dgm:cxn modelId="{50F5F39A-3CD0-4BFC-9559-9E40638EC767}" srcId="{CFA8CFBE-9896-46E5-8B97-A6E174662C3E}" destId="{EEC6BBCE-936B-40AE-8C57-670F220D9A80}" srcOrd="0" destOrd="0" parTransId="{5623B46A-A661-4B69-B9A2-B1A3B8FFF390}" sibTransId="{6484475B-5AAF-4C27-B4B6-34AD2D15BD06}"/>
    <dgm:cxn modelId="{A45850A9-F06F-4841-8710-1D11175968C7}" type="presOf" srcId="{27188821-4F89-4FE4-8F16-48C32C3527DC}" destId="{9933C820-BB3C-455A-A3A6-E1820F9D7A90}" srcOrd="0" destOrd="0" presId="urn:microsoft.com/office/officeart/2005/8/layout/list1"/>
    <dgm:cxn modelId="{EB12D425-F753-4DC2-8467-32238F92BD1C}" type="presOf" srcId="{EEC6BBCE-936B-40AE-8C57-670F220D9A80}" destId="{EEF23D9F-D82E-421D-8C66-7D78F9C2C76D}" srcOrd="1" destOrd="0" presId="urn:microsoft.com/office/officeart/2005/8/layout/list1"/>
    <dgm:cxn modelId="{05AAA95E-59BD-4413-AF1F-619F44263281}" type="presOf" srcId="{EEC6BBCE-936B-40AE-8C57-670F220D9A80}" destId="{304F945B-7270-416B-B193-632961508E3B}" srcOrd="0" destOrd="0" presId="urn:microsoft.com/office/officeart/2005/8/layout/list1"/>
    <dgm:cxn modelId="{08B04D08-1000-46CE-B721-DE310137ADB2}" type="presOf" srcId="{CFA8CFBE-9896-46E5-8B97-A6E174662C3E}" destId="{651CC650-09FA-4DE3-8CB5-518B4626501C}" srcOrd="0" destOrd="0" presId="urn:microsoft.com/office/officeart/2005/8/layout/list1"/>
    <dgm:cxn modelId="{D4A82561-848E-4B37-9A61-D3E8C425D36C}" type="presParOf" srcId="{651CC650-09FA-4DE3-8CB5-518B4626501C}" destId="{7AEF5020-130D-4FB5-81A3-8589F43EE2F4}" srcOrd="0" destOrd="0" presId="urn:microsoft.com/office/officeart/2005/8/layout/list1"/>
    <dgm:cxn modelId="{4C8A6D11-E398-4014-AEC3-2F06DA9A36CB}" type="presParOf" srcId="{7AEF5020-130D-4FB5-81A3-8589F43EE2F4}" destId="{304F945B-7270-416B-B193-632961508E3B}" srcOrd="0" destOrd="0" presId="urn:microsoft.com/office/officeart/2005/8/layout/list1"/>
    <dgm:cxn modelId="{0F32F43D-E4CB-483C-8A99-9A36FAD5F318}" type="presParOf" srcId="{7AEF5020-130D-4FB5-81A3-8589F43EE2F4}" destId="{EEF23D9F-D82E-421D-8C66-7D78F9C2C76D}" srcOrd="1" destOrd="0" presId="urn:microsoft.com/office/officeart/2005/8/layout/list1"/>
    <dgm:cxn modelId="{3CE441C4-2922-4020-A1E8-3AB5688EE860}" type="presParOf" srcId="{651CC650-09FA-4DE3-8CB5-518B4626501C}" destId="{EBB0BFBA-9C29-4F24-9B10-B2C45040D2F5}" srcOrd="1" destOrd="0" presId="urn:microsoft.com/office/officeart/2005/8/layout/list1"/>
    <dgm:cxn modelId="{6064BFC7-8C0A-40D1-8D11-89424EE21A81}" type="presParOf" srcId="{651CC650-09FA-4DE3-8CB5-518B4626501C}" destId="{9933C820-BB3C-455A-A3A6-E1820F9D7A90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33C820-BB3C-455A-A3A6-E1820F9D7A90}">
      <dsp:nvSpPr>
        <dsp:cNvPr id="0" name=""/>
        <dsp:cNvSpPr/>
      </dsp:nvSpPr>
      <dsp:spPr>
        <a:xfrm>
          <a:off x="0" y="1354021"/>
          <a:ext cx="8044639" cy="3685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4353" tIns="1353820" rIns="624353" bIns="462280" numCol="1" spcCol="1270" anchor="t" anchorCtr="0">
          <a:noAutofit/>
        </a:bodyPr>
        <a:lstStyle/>
        <a:p>
          <a:pPr marL="285750" lvl="1" indent="-285750" algn="l" defTabSz="2889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6500" u="sng" kern="1200" dirty="0" smtClean="0">
              <a:solidFill>
                <a:schemeClr val="tx2">
                  <a:lumMod val="75000"/>
                </a:schemeClr>
              </a:solidFill>
            </a:rPr>
            <a:t>Taller solicitud de Viaje</a:t>
          </a:r>
          <a:endParaRPr lang="es-CO" sz="6500" u="sng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0" y="1354021"/>
        <a:ext cx="8044639" cy="3685500"/>
      </dsp:txXfrm>
    </dsp:sp>
    <dsp:sp modelId="{EEF23D9F-D82E-421D-8C66-7D78F9C2C76D}">
      <dsp:nvSpPr>
        <dsp:cNvPr id="0" name=""/>
        <dsp:cNvSpPr/>
      </dsp:nvSpPr>
      <dsp:spPr>
        <a:xfrm>
          <a:off x="402231" y="394621"/>
          <a:ext cx="5631247" cy="1918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2848" tIns="0" rIns="212848" bIns="0" numCol="1" spcCol="1270" anchor="ctr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6500" kern="1200" dirty="0" smtClean="0"/>
            <a:t>Taller</a:t>
          </a:r>
          <a:endParaRPr lang="es-CO" sz="6500" kern="1200" dirty="0"/>
        </a:p>
      </dsp:txBody>
      <dsp:txXfrm>
        <a:off x="495899" y="488289"/>
        <a:ext cx="5443911" cy="1731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E56148-2297-4C44-BC06-4FC35B75671B}" type="datetimeFigureOut">
              <a:rPr lang="es-CO" smtClean="0"/>
              <a:pPr/>
              <a:t>12/02/2019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18E45-2647-49FB-B426-88334B34A649}" type="slidenum">
              <a:rPr lang="es-CO" smtClean="0"/>
              <a:pPr/>
              <a:t>‹#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847508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0183A9-D1F7-458A-AFA9-064316B428F0}" type="datetimeFigureOut">
              <a:rPr lang="es-CO" smtClean="0"/>
              <a:pPr/>
              <a:t>12/02/2019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011512-64D6-4395-B818-B85718CEE8D5}" type="slidenum">
              <a:rPr lang="es-CO" smtClean="0"/>
              <a:pPr/>
              <a:t>‹#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69237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s-CO" b="0" baseline="0" dirty="0" smtClean="0"/>
              <a:t>Este taller tiene como objetivo que los equipos de trabajo interioricen la forma como se utiliza la herramienta para hacer el modelado de los procesos de negocio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011512-64D6-4395-B818-B85718CEE8D5}" type="slidenum">
              <a:rPr lang="es-CO" smtClean="0"/>
              <a:pPr/>
              <a:t>20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31857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6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865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22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473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84"/>
            <a:ext cx="9144000" cy="6864704"/>
          </a:xfrm>
          <a:prstGeom prst="rect">
            <a:avLst/>
          </a:prstGeom>
        </p:spPr>
      </p:pic>
      <p:pic>
        <p:nvPicPr>
          <p:cNvPr id="11" name="Picture 5" descr="imag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3703"/>
            <a:ext cx="8686354" cy="89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6" name="Marcador de contenido 2"/>
          <p:cNvSpPr>
            <a:spLocks noGrp="1"/>
          </p:cNvSpPr>
          <p:nvPr>
            <p:ph idx="10"/>
          </p:nvPr>
        </p:nvSpPr>
        <p:spPr>
          <a:xfrm>
            <a:off x="680269" y="2247984"/>
            <a:ext cx="7887146" cy="43509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17" name="Título 1"/>
          <p:cNvSpPr>
            <a:spLocks noGrp="1"/>
          </p:cNvSpPr>
          <p:nvPr>
            <p:ph type="title" hasCustomPrompt="1"/>
          </p:nvPr>
        </p:nvSpPr>
        <p:spPr>
          <a:xfrm>
            <a:off x="563688" y="227997"/>
            <a:ext cx="7096781" cy="79471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145" rtl="0" eaLnBrk="1" fontAlgn="base" hangingPunct="0">
              <a:spcBef>
                <a:spcPct val="0"/>
              </a:spcBef>
              <a:spcAft>
                <a:spcPct val="0"/>
              </a:spcAft>
              <a:defRPr lang="es-CO" sz="2742" kern="1200" dirty="0">
                <a:solidFill>
                  <a:srgbClr val="1F497D"/>
                </a:solidFill>
                <a:latin typeface="MicrogrammaDMedExt" panose="020B0607030502060204" pitchFamily="34" charset="0"/>
                <a:ea typeface="MicrogrammaDMedExt" panose="020B0607030502060204" pitchFamily="34" charset="0"/>
                <a:cs typeface="Helvetica" panose="020B0604020202020204" pitchFamily="34" charset="0"/>
                <a:sym typeface="Helvetica Light" charset="0"/>
              </a:defRPr>
            </a:lvl1pPr>
          </a:lstStyle>
          <a:p>
            <a:r>
              <a:rPr lang="es-ES" dirty="0"/>
              <a:t>Haga clic para modificar el estilo de título del capitulo</a:t>
            </a:r>
            <a:endParaRPr lang="es-CO" dirty="0"/>
          </a:p>
        </p:txBody>
      </p:sp>
      <p:sp>
        <p:nvSpPr>
          <p:cNvPr id="19" name="Marcador de texto 2"/>
          <p:cNvSpPr>
            <a:spLocks noGrp="1"/>
          </p:cNvSpPr>
          <p:nvPr>
            <p:ph type="body" idx="1"/>
          </p:nvPr>
        </p:nvSpPr>
        <p:spPr>
          <a:xfrm>
            <a:off x="563688" y="1377602"/>
            <a:ext cx="7887146" cy="6113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257836" rtl="0" eaLnBrk="1" fontAlgn="base" hangingPunct="0">
              <a:spcBef>
                <a:spcPct val="0"/>
              </a:spcBef>
              <a:spcAft>
                <a:spcPct val="0"/>
              </a:spcAft>
              <a:buNone/>
              <a:defRPr lang="es-ES" sz="2601" kern="1200" dirty="0" smtClean="0">
                <a:solidFill>
                  <a:srgbClr val="B58715"/>
                </a:solidFill>
                <a:latin typeface="MicrogrammaDMedExt" panose="020B0607030502060204" pitchFamily="34" charset="0"/>
                <a:ea typeface="MicrogrammaDMedExt" panose="020B0607030502060204" pitchFamily="34" charset="0"/>
                <a:cs typeface="MicrogrammaDMedExt" panose="020B0607030502060204" pitchFamily="34" charset="0"/>
                <a:sym typeface="Helvetica Light" charset="0"/>
              </a:defRPr>
            </a:lvl1pPr>
            <a:lvl2pPr marL="321457" indent="0">
              <a:buNone/>
              <a:defRPr sz="1406">
                <a:solidFill>
                  <a:schemeClr val="tx1">
                    <a:tint val="75000"/>
                  </a:schemeClr>
                </a:solidFill>
              </a:defRPr>
            </a:lvl2pPr>
            <a:lvl3pPr marL="642915" indent="0">
              <a:buNone/>
              <a:defRPr sz="1266">
                <a:solidFill>
                  <a:schemeClr val="tx1">
                    <a:tint val="75000"/>
                  </a:schemeClr>
                </a:solidFill>
              </a:defRPr>
            </a:lvl3pPr>
            <a:lvl4pPr marL="964372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4pPr>
            <a:lvl5pPr marL="1285829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5pPr>
            <a:lvl6pPr marL="1607287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6pPr>
            <a:lvl7pPr marL="1928744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7pPr>
            <a:lvl8pPr marL="2250201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8pPr>
            <a:lvl9pPr marL="2571659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2" name="CuadroTexto 11"/>
          <p:cNvSpPr txBox="1"/>
          <p:nvPr userDrawn="1"/>
        </p:nvSpPr>
        <p:spPr>
          <a:xfrm>
            <a:off x="116505" y="6636514"/>
            <a:ext cx="5949869" cy="211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73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Evolution Technologies Group SAS La información contenida esta sujeta a cambios sin notificación</a:t>
            </a:r>
          </a:p>
        </p:txBody>
      </p:sp>
    </p:spTree>
    <p:extLst>
      <p:ext uri="{BB962C8B-B14F-4D97-AF65-F5344CB8AC3E}">
        <p14:creationId xmlns:p14="http://schemas.microsoft.com/office/powerpoint/2010/main" val="1599108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Portada Bancolombia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349865"/>
            <a:ext cx="1004301" cy="13929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508600"/>
            <a:ext cx="284052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Working Draft - Last Modified 10/08/2012 09:37:16 a.m.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5" y="668956"/>
            <a:ext cx="287899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4/30/2012 6:49:54 PM SA Pacific Standard Time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5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doc i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dirty="0" smtClean="0">
              <a:solidFill>
                <a:srgbClr val="000000"/>
              </a:solidFill>
            </a:endParaRPr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735911" y="4162745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es-ES"/>
              <a:t>Click to edit Master title</a:t>
            </a:r>
          </a:p>
        </p:txBody>
      </p:sp>
      <p:sp>
        <p:nvSpPr>
          <p:cNvPr id="849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735911" y="5024449"/>
            <a:ext cx="5036084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s-E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1594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6CC221-BBA7-44B4-81CC-CF03F2867E84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1611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892826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1AE679-4BF6-4455-B8BD-34F82BE19630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28674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42DE0-EA8C-43E1-AFCD-DF888A1FDE8A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5478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0EC146-CDEB-43D7-81F4-69279C70EBD2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80506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FCB83-39B7-48F2-82B8-BC6227131918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9732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2026B-DC4C-48C0-AAD8-3AA5B4FCAB61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8281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897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6795" y="511765"/>
            <a:ext cx="3008044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A71445-0832-4256-B850-6DA650465490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77237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1544" y="4752282"/>
            <a:ext cx="5486400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s-CO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F575EF-6AF4-4CC5-864D-9014F18B5D48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971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F8C5B9-5A64-4F2A-AABB-23B5DAEE3127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2041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038439" y="234864"/>
            <a:ext cx="877163" cy="3003007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21488" y="234864"/>
            <a:ext cx="6440486" cy="3003007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58A66-6D86-47C2-9D9F-C7BE5F497579}" type="slidenum">
              <a:rPr lang="es-ES"/>
              <a:pPr>
                <a:defRPr/>
              </a:pPr>
              <a:t>‹#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5636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787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51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19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922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031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702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013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image" Target="../media/image5.jpeg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49EDC0-E992-0149-B856-A2B4A61ACAC6}" type="datetimeFigureOut">
              <a:rPr lang="en-US" smtClean="0"/>
              <a:pPr/>
              <a:t>2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54F4C-DF28-AB49-8D00-445D59FBAE1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7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8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Hoja Bancolombia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" y="-1620"/>
            <a:ext cx="9143999" cy="685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smtClean="0"/>
              <a:t>Click to edit Master title style</a:t>
            </a:r>
          </a:p>
        </p:txBody>
      </p:sp>
      <p:sp>
        <p:nvSpPr>
          <p:cNvPr id="1029" name="SlideLogoText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 smtClean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1489" y="27537"/>
            <a:ext cx="868234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1489" y="542615"/>
            <a:ext cx="3730492" cy="21704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2" name="McK Slide Elements"/>
          <p:cNvGrpSpPr>
            <a:grpSpLocks/>
          </p:cNvGrpSpPr>
          <p:nvPr userDrawn="1"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04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 smtClean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04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E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3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039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40" name="AutoShape 13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83982" name="Rectangle 14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3D61AB6-B8D3-450F-A0D0-50DAF1DC9F3E}" type="slidenum">
              <a:rPr lang="es-ES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s-ES" dirty="0"/>
              <a:t> </a:t>
            </a:r>
          </a:p>
        </p:txBody>
      </p:sp>
      <p:sp>
        <p:nvSpPr>
          <p:cNvPr id="1035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113029" y="2867756"/>
            <a:ext cx="1919397" cy="9395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Working Draft - Last Modified 10/08/2012 09:37:16 a.m.</a:t>
            </a:r>
            <a:endParaRPr lang="es-ES" dirty="0" smtClean="0">
              <a:solidFill>
                <a:srgbClr val="000000"/>
              </a:solidFill>
            </a:endParaRPr>
          </a:p>
        </p:txBody>
      </p:sp>
      <p:sp>
        <p:nvSpPr>
          <p:cNvPr id="1036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559766" y="3931118"/>
            <a:ext cx="1025922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600" dirty="0" smtClean="0">
                <a:solidFill>
                  <a:srgbClr val="000000"/>
                </a:solidFill>
              </a:rPr>
              <a:t>Printed 6/25/2012 2:33:23 PM</a:t>
            </a:r>
            <a:endParaRPr lang="es-ES" dirty="0" smtClean="0">
              <a:solidFill>
                <a:srgbClr val="000000"/>
              </a:solidFill>
            </a:endParaRPr>
          </a:p>
        </p:txBody>
      </p:sp>
      <p:sp>
        <p:nvSpPr>
          <p:cNvPr id="1037" name="Rectangle 17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</a:p>
        </p:txBody>
      </p:sp>
      <p:sp>
        <p:nvSpPr>
          <p:cNvPr id="1038" name="SlideLogoSeparator" hidden="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590015" y="6534052"/>
            <a:ext cx="40496" cy="186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s-ES" sz="1200" dirty="0" smtClean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405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CO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1180" y="2802215"/>
            <a:ext cx="6858000" cy="1388148"/>
          </a:xfrm>
        </p:spPr>
        <p:txBody>
          <a:bodyPr>
            <a:normAutofit fontScale="90000"/>
          </a:bodyPr>
          <a:lstStyle/>
          <a:p>
            <a:pPr lvl="0"/>
            <a:r>
              <a:rPr lang="es-CO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4900" b="1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zagi</a:t>
            </a:r>
            <a:r>
              <a:rPr lang="es-CO" dirty="0"/>
              <a:t/>
            </a:r>
            <a:br>
              <a:rPr lang="es-CO" dirty="0"/>
            </a:br>
            <a:r>
              <a:rPr lang="es-CO" sz="4000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ado </a:t>
            </a:r>
            <a:r>
              <a:rPr lang="es-CO" sz="4000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Procesos de Negoci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271788" y="4685735"/>
            <a:ext cx="6858000" cy="354414"/>
          </a:xfrm>
        </p:spPr>
        <p:txBody>
          <a:bodyPr>
            <a:normAutofit fontScale="92500" lnSpcReduction="20000"/>
          </a:bodyPr>
          <a:lstStyle/>
          <a:p>
            <a:r>
              <a:rPr lang="es-CO" sz="2109" dirty="0" err="1">
                <a:latin typeface="Arial" panose="020B0604020202020204" pitchFamily="34" charset="0"/>
                <a:cs typeface="Arial" panose="020B0604020202020204" pitchFamily="34" charset="0"/>
              </a:rPr>
              <a:t>Tips</a:t>
            </a:r>
            <a:r>
              <a:rPr lang="es-CO" sz="2109" dirty="0">
                <a:latin typeface="Arial" panose="020B0604020202020204" pitchFamily="34" charset="0"/>
                <a:cs typeface="Arial" panose="020B0604020202020204" pitchFamily="34" charset="0"/>
              </a:rPr>
              <a:t> y Buenas Prácticas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71438" y="6416207"/>
            <a:ext cx="3746666" cy="395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84" dirty="0">
                <a:solidFill>
                  <a:schemeClr val="bg1"/>
                </a:solidFill>
              </a:rPr>
              <a:t>©2016 Evolution Technologies Group SAS</a:t>
            </a:r>
          </a:p>
          <a:p>
            <a:r>
              <a:rPr lang="es-CO" sz="984" dirty="0">
                <a:solidFill>
                  <a:schemeClr val="bg1"/>
                </a:solidFill>
              </a:rPr>
              <a:t>La información contenida esta sujeta a cambios sin notificación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778" y="470442"/>
            <a:ext cx="3331796" cy="242730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05301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" y="5732061"/>
            <a:ext cx="9144000" cy="1105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Marcador de texto 3"/>
          <p:cNvSpPr txBox="1">
            <a:spLocks/>
          </p:cNvSpPr>
          <p:nvPr/>
        </p:nvSpPr>
        <p:spPr>
          <a:xfrm>
            <a:off x="2263133" y="-19583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b="50408"/>
          <a:stretch/>
        </p:blipFill>
        <p:spPr>
          <a:xfrm>
            <a:off x="293427" y="1340409"/>
            <a:ext cx="8557147" cy="1684986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4744278" y="3365335"/>
            <a:ext cx="3715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Solo una rama es seleccionada, las demás son deshabilitadas</a:t>
            </a:r>
            <a:endParaRPr lang="es-CO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9235" y="4200275"/>
            <a:ext cx="4205888" cy="2238095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427" y="4162180"/>
            <a:ext cx="3856622" cy="22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47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" y="5732061"/>
            <a:ext cx="9143999" cy="1105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Marcador de texto 3"/>
          <p:cNvSpPr txBox="1">
            <a:spLocks/>
          </p:cNvSpPr>
          <p:nvPr/>
        </p:nvSpPr>
        <p:spPr>
          <a:xfrm>
            <a:off x="2263133" y="81188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b="57217"/>
          <a:stretch/>
        </p:blipFill>
        <p:spPr>
          <a:xfrm>
            <a:off x="423085" y="1115265"/>
            <a:ext cx="8529851" cy="1583867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307" y="3799362"/>
            <a:ext cx="4188668" cy="2547841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144793" y="3258896"/>
            <a:ext cx="4745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/>
              <a:t>Divergencia (varias actividades se realizan en paralelo)</a:t>
            </a:r>
            <a:endParaRPr lang="es-CO" sz="1600" dirty="0"/>
          </a:p>
        </p:txBody>
      </p:sp>
      <p:sp>
        <p:nvSpPr>
          <p:cNvPr id="8" name="CuadroTexto 7"/>
          <p:cNvSpPr txBox="1"/>
          <p:nvPr/>
        </p:nvSpPr>
        <p:spPr>
          <a:xfrm>
            <a:off x="5963478" y="3375097"/>
            <a:ext cx="4745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/>
              <a:t>Convergencia</a:t>
            </a:r>
            <a:endParaRPr lang="es-CO" sz="16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0759" y="3919380"/>
            <a:ext cx="4089169" cy="2360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03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" y="5732061"/>
            <a:ext cx="9143999" cy="1105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Marcador de texto 3"/>
          <p:cNvSpPr txBox="1">
            <a:spLocks/>
          </p:cNvSpPr>
          <p:nvPr/>
        </p:nvSpPr>
        <p:spPr>
          <a:xfrm>
            <a:off x="2369150" y="61134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t="42451"/>
          <a:stretch/>
        </p:blipFill>
        <p:spPr>
          <a:xfrm>
            <a:off x="423085" y="1033674"/>
            <a:ext cx="8529851" cy="1762537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09474" y="3205136"/>
            <a:ext cx="430951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/>
              <a:t>Convergencia</a:t>
            </a:r>
          </a:p>
          <a:p>
            <a:r>
              <a:rPr lang="es-CO" sz="1600" b="1" dirty="0" smtClean="0"/>
              <a:t>(Permite continuar cuando una o mas  condiciones se cumplen)</a:t>
            </a:r>
            <a:endParaRPr lang="es-CO" sz="1600" b="1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2573" y="4141549"/>
            <a:ext cx="3390476" cy="2491409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5804452" y="3689691"/>
            <a:ext cx="12994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/>
              <a:t>Divergencia</a:t>
            </a:r>
            <a:endParaRPr lang="es-CO" b="1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285" y="4186177"/>
            <a:ext cx="4075942" cy="2306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33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" y="5732061"/>
            <a:ext cx="9143999" cy="1105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Marcador de texto 3"/>
          <p:cNvSpPr txBox="1">
            <a:spLocks/>
          </p:cNvSpPr>
          <p:nvPr/>
        </p:nvSpPr>
        <p:spPr>
          <a:xfrm>
            <a:off x="2369150" y="61134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129" y="1143258"/>
            <a:ext cx="7832036" cy="1803401"/>
          </a:xfrm>
          <a:prstGeom prst="rect">
            <a:avLst/>
          </a:prstGeom>
        </p:spPr>
      </p:pic>
      <p:sp>
        <p:nvSpPr>
          <p:cNvPr id="11" name="CuadroTexto 10"/>
          <p:cNvSpPr txBox="1"/>
          <p:nvPr/>
        </p:nvSpPr>
        <p:spPr>
          <a:xfrm>
            <a:off x="258417" y="3535485"/>
            <a:ext cx="44053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b="1" dirty="0"/>
              <a:t>Divergencia</a:t>
            </a:r>
            <a:r>
              <a:rPr lang="es-CO" sz="1400" dirty="0" smtClean="0"/>
              <a:t> (En un punto se activan uno o varios caminos, pueden ejecutarse en cualquier orden o paralelo, cada flujo de salida tiene una condición independiente)</a:t>
            </a:r>
            <a:endParaRPr lang="es-CO" sz="1400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790659" y="3540056"/>
            <a:ext cx="40485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b="1" dirty="0" smtClean="0"/>
              <a:t> Convergencia </a:t>
            </a:r>
            <a:r>
              <a:rPr lang="es-CO" sz="1600" dirty="0" smtClean="0"/>
              <a:t>(Sincroniza caminos activados previamente por una compuerta inclusiva divergente)</a:t>
            </a:r>
            <a:endParaRPr lang="es-CO" sz="1600" dirty="0"/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418" y="4422528"/>
            <a:ext cx="3465444" cy="2031080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9770" y="4691304"/>
            <a:ext cx="4269431" cy="165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7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s-CO" dirty="0"/>
              <a:t>BPMN - Elementos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r>
              <a:rPr lang="es-CO" dirty="0"/>
              <a:t>Eventos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658" y="2581531"/>
            <a:ext cx="8338350" cy="3240360"/>
          </a:xfrm>
          <a:prstGeom prst="rect">
            <a:avLst/>
          </a:prstGeom>
        </p:spPr>
      </p:pic>
      <p:sp>
        <p:nvSpPr>
          <p:cNvPr id="16" name="36 Rectángulo redondeado"/>
          <p:cNvSpPr/>
          <p:nvPr/>
        </p:nvSpPr>
        <p:spPr>
          <a:xfrm>
            <a:off x="3812541" y="2213865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Intermedio</a:t>
            </a:r>
          </a:p>
        </p:txBody>
      </p:sp>
      <p:cxnSp>
        <p:nvCxnSpPr>
          <p:cNvPr id="17" name="Conector recto de flecha 16"/>
          <p:cNvCxnSpPr/>
          <p:nvPr/>
        </p:nvCxnSpPr>
        <p:spPr>
          <a:xfrm>
            <a:off x="4521370" y="2669541"/>
            <a:ext cx="2598076" cy="1380136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/>
          <p:cNvCxnSpPr>
            <a:stCxn id="16" idx="2"/>
          </p:cNvCxnSpPr>
          <p:nvPr/>
        </p:nvCxnSpPr>
        <p:spPr>
          <a:xfrm>
            <a:off x="4440414" y="2665933"/>
            <a:ext cx="2713748" cy="2484508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36 Rectángulo redondeado"/>
          <p:cNvSpPr/>
          <p:nvPr/>
        </p:nvSpPr>
        <p:spPr>
          <a:xfrm>
            <a:off x="1030153" y="4087198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Inicio</a:t>
            </a:r>
          </a:p>
        </p:txBody>
      </p:sp>
      <p:cxnSp>
        <p:nvCxnSpPr>
          <p:cNvPr id="15" name="Conector recto de flecha 14"/>
          <p:cNvCxnSpPr>
            <a:stCxn id="14" idx="0"/>
          </p:cNvCxnSpPr>
          <p:nvPr/>
        </p:nvCxnSpPr>
        <p:spPr>
          <a:xfrm flipH="1" flipV="1">
            <a:off x="1331640" y="3074585"/>
            <a:ext cx="326386" cy="1012613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6 Rectángulo redondeado"/>
          <p:cNvSpPr/>
          <p:nvPr/>
        </p:nvSpPr>
        <p:spPr>
          <a:xfrm>
            <a:off x="6293441" y="1960712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Fin</a:t>
            </a:r>
          </a:p>
        </p:txBody>
      </p:sp>
      <p:cxnSp>
        <p:nvCxnSpPr>
          <p:cNvPr id="23" name="Conector recto de flecha 22"/>
          <p:cNvCxnSpPr>
            <a:stCxn id="21" idx="2"/>
          </p:cNvCxnSpPr>
          <p:nvPr/>
        </p:nvCxnSpPr>
        <p:spPr>
          <a:xfrm>
            <a:off x="6921315" y="2412780"/>
            <a:ext cx="1599874" cy="1623787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3"/>
          <p:cNvSpPr txBox="1">
            <a:spLocks/>
          </p:cNvSpPr>
          <p:nvPr/>
        </p:nvSpPr>
        <p:spPr>
          <a:xfrm>
            <a:off x="-4578485" y="1032773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Evento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3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105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4" grpId="0" animBg="1"/>
      <p:bldP spid="2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>
          <a:xfrm>
            <a:off x="-699289" y="749575"/>
            <a:ext cx="6400800" cy="1752600"/>
          </a:xfrm>
        </p:spPr>
        <p:txBody>
          <a:bodyPr anchor="ctr"/>
          <a:lstStyle/>
          <a:p>
            <a:r>
              <a:rPr lang="es-CO" b="1" dirty="0">
                <a:solidFill>
                  <a:schemeClr val="tx2">
                    <a:lumMod val="75000"/>
                  </a:schemeClr>
                </a:solidFill>
              </a:rPr>
              <a:t>Eventos de Inicio - Fin</a:t>
            </a:r>
          </a:p>
        </p:txBody>
      </p:sp>
      <p:sp>
        <p:nvSpPr>
          <p:cNvPr id="18" name="Marcador de contenido 2"/>
          <p:cNvSpPr txBox="1">
            <a:spLocks/>
          </p:cNvSpPr>
          <p:nvPr/>
        </p:nvSpPr>
        <p:spPr>
          <a:xfrm>
            <a:off x="240868" y="4188460"/>
            <a:ext cx="3442883" cy="1715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457200" indent="-457200">
              <a:buFont typeface="Arial" panose="020B0604020202020204" pitchFamily="34" charset="0"/>
              <a:buChar char="•"/>
              <a:defRPr sz="3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410751" eaLnBrk="0" fontAlgn="base" hangingPunc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s-CO" sz="2109" dirty="0">
                <a:solidFill>
                  <a:schemeClr val="tx2">
                    <a:lumMod val="75000"/>
                  </a:schemeClr>
                </a:solidFill>
              </a:rPr>
              <a:t>Evento de Fin: </a:t>
            </a:r>
          </a:p>
          <a:p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Indican que proceso finaliza</a:t>
            </a:r>
          </a:p>
          <a:p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No tienen flujos de secuencia salientes</a:t>
            </a:r>
            <a:endParaRPr lang="es-CO" sz="2109" b="0" dirty="0">
              <a:solidFill>
                <a:schemeClr val="tx2">
                  <a:lumMod val="75000"/>
                </a:schemeClr>
              </a:solidFill>
              <a:sym typeface="Helvetica Light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636"/>
          <a:stretch/>
        </p:blipFill>
        <p:spPr>
          <a:xfrm>
            <a:off x="4237148" y="2395546"/>
            <a:ext cx="4693529" cy="3387229"/>
          </a:xfrm>
          <a:prstGeom prst="rect">
            <a:avLst/>
          </a:prstGeom>
        </p:spPr>
      </p:pic>
      <p:sp>
        <p:nvSpPr>
          <p:cNvPr id="16" name="Marcador de contenido 2"/>
          <p:cNvSpPr txBox="1">
            <a:spLocks/>
          </p:cNvSpPr>
          <p:nvPr/>
        </p:nvSpPr>
        <p:spPr>
          <a:xfrm>
            <a:off x="322266" y="2270391"/>
            <a:ext cx="3773214" cy="1390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457200" indent="-457200">
              <a:buFont typeface="Arial" panose="020B0604020202020204" pitchFamily="34" charset="0"/>
              <a:buChar char="•"/>
              <a:defRPr sz="3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just" defTabSz="410751" eaLnBrk="0" fontAlgn="base" hangingPunc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s-CO" sz="2109" dirty="0">
                <a:solidFill>
                  <a:schemeClr val="tx2">
                    <a:lumMod val="75000"/>
                  </a:schemeClr>
                </a:solidFill>
              </a:rPr>
              <a:t>Evento de Inicio: </a:t>
            </a:r>
          </a:p>
          <a:p>
            <a:pPr algn="just"/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Indican que proceso inicia</a:t>
            </a:r>
          </a:p>
          <a:p>
            <a:pPr algn="just"/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No tienen flujos de secuencia entrantes</a:t>
            </a:r>
            <a:endParaRPr lang="es-CO" sz="2109" b="0" dirty="0">
              <a:solidFill>
                <a:schemeClr val="tx2">
                  <a:lumMod val="75000"/>
                </a:schemeClr>
              </a:solidFill>
              <a:sym typeface="Helvetica Light" charset="0"/>
            </a:endParaRPr>
          </a:p>
        </p:txBody>
      </p:sp>
      <p:sp>
        <p:nvSpPr>
          <p:cNvPr id="8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7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726547" y="5537915"/>
            <a:ext cx="4417454" cy="132008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>
          <a:xfrm>
            <a:off x="-857291" y="434660"/>
            <a:ext cx="6400800" cy="1752600"/>
          </a:xfrm>
        </p:spPr>
        <p:txBody>
          <a:bodyPr anchor="ctr"/>
          <a:lstStyle/>
          <a:p>
            <a:r>
              <a:rPr lang="es-CO" b="1" dirty="0">
                <a:solidFill>
                  <a:schemeClr val="tx2">
                    <a:lumMod val="75000"/>
                  </a:schemeClr>
                </a:solidFill>
              </a:rPr>
              <a:t>Eventos Intermedios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6406" t="18735" r="16065" b="8313"/>
          <a:stretch/>
        </p:blipFill>
        <p:spPr>
          <a:xfrm>
            <a:off x="574638" y="1823572"/>
            <a:ext cx="7745114" cy="4582017"/>
          </a:xfrm>
          <a:prstGeom prst="rect">
            <a:avLst/>
          </a:prstGeom>
        </p:spPr>
      </p:pic>
      <p:sp>
        <p:nvSpPr>
          <p:cNvPr id="8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43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 smtClean="0"/>
              <a:t>TIPS</a:t>
            </a:r>
            <a:endParaRPr lang="es-CO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buFontTx/>
              <a:buChar char="-"/>
            </a:pPr>
            <a:r>
              <a:rPr lang="es-CO" dirty="0" smtClean="0"/>
              <a:t>Recordar que no se debe generar una copia de un archivo de un modelo para trabajar otro. Siempre se debe crear un archivo nuevo de </a:t>
            </a:r>
            <a:r>
              <a:rPr lang="es-CO" dirty="0" err="1" smtClean="0"/>
              <a:t>bizaggi</a:t>
            </a:r>
            <a:r>
              <a:rPr lang="es-CO" dirty="0" smtClean="0"/>
              <a:t> y si es necesario reutilizar se puede copiar y pegar de un archivo ya creado al nuevo archivo.</a:t>
            </a:r>
          </a:p>
          <a:p>
            <a:pPr algn="just">
              <a:buFontTx/>
              <a:buChar char="-"/>
            </a:pPr>
            <a:r>
              <a:rPr lang="es-CO" dirty="0" smtClean="0"/>
              <a:t>No olvidar nombrar la hoja donde se crea el modelo o duplicar un nombre existente  ya que si se sube a ALM 12 con el nombre genérico  o el mismo nombre y ya existe un modelo con este nombre este será </a:t>
            </a:r>
            <a:r>
              <a:rPr lang="es-CO" dirty="0" err="1" smtClean="0"/>
              <a:t>sobreescrito</a:t>
            </a:r>
            <a:r>
              <a:rPr lang="es-CO" dirty="0" smtClean="0"/>
              <a:t>.</a:t>
            </a:r>
          </a:p>
          <a:p>
            <a:pPr algn="just">
              <a:buFontTx/>
              <a:buChar char="-"/>
            </a:pP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170298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 smtClean="0"/>
              <a:t>TIPS</a:t>
            </a:r>
            <a:endParaRPr lang="es-CO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buFontTx/>
              <a:buChar char="-"/>
            </a:pPr>
            <a:r>
              <a:rPr lang="es-CO" dirty="0" smtClean="0"/>
              <a:t>Para que el modelo no presente errores de falta de conectores siempre es mejor generar el próximo elemento  de una vez conectado del anterior. </a:t>
            </a:r>
          </a:p>
          <a:p>
            <a:pPr algn="just">
              <a:buFontTx/>
              <a:buChar char="-"/>
            </a:pPr>
            <a:r>
              <a:rPr lang="es-CO" dirty="0" smtClean="0"/>
              <a:t>No olvidar que si se abren compuertas de manera divergente  y luego el flujo es el mismo en otro punto del </a:t>
            </a:r>
            <a:r>
              <a:rPr lang="es-CO" dirty="0" err="1" smtClean="0"/>
              <a:t>modelosiempre</a:t>
            </a:r>
            <a:r>
              <a:rPr lang="es-CO" dirty="0" smtClean="0"/>
              <a:t> hay que generar la compuerta que une los flujos de manera convergente para que el modelo no presente errores. 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3869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dirty="0" smtClean="0"/>
              <a:t>TIPS</a:t>
            </a:r>
            <a:endParaRPr lang="es-CO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buFontTx/>
              <a:buChar char="-"/>
            </a:pPr>
            <a:r>
              <a:rPr lang="es-CO" sz="2400" dirty="0" smtClean="0"/>
              <a:t>Actualmente informa el Banco que hay inconvenientes con el manejo de subprocesos a la hora de subir el modelo en ALM 12,   por tanto lo sugerido es  si es necesario dar mas detalle del subproceso, esté se realizará dentro del flujo y se puede encerrar en un recuadro punteado ya que esto de acuerdo a lo definido en </a:t>
            </a:r>
            <a:r>
              <a:rPr lang="es-CO" sz="2400" dirty="0" err="1" smtClean="0"/>
              <a:t>Bizaggi</a:t>
            </a:r>
            <a:r>
              <a:rPr lang="es-CO" sz="2400" dirty="0" smtClean="0"/>
              <a:t> indica agrupación de tareas. (No se ha probado el montaje de modelos con este elemento.)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1574" y="4325938"/>
            <a:ext cx="4333875" cy="180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6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osoriolifestyle.com/wp-content/uploads/2016/04/agenda-digital3-1468x97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" y="12879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/>
          <p:cNvSpPr txBox="1"/>
          <p:nvPr/>
        </p:nvSpPr>
        <p:spPr>
          <a:xfrm rot="20032949">
            <a:off x="1046684" y="4989591"/>
            <a:ext cx="2227748" cy="139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41093" indent="-241093">
              <a:buFont typeface="+mj-lt"/>
              <a:buAutoNum type="arabicPeriod"/>
            </a:pPr>
            <a:r>
              <a:rPr lang="es-CO" sz="1055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é es?</a:t>
            </a:r>
          </a:p>
          <a:p>
            <a:pPr marL="241093" indent="-241093">
              <a:buFont typeface="+mj-lt"/>
              <a:buAutoNum type="arabicPeriod"/>
            </a:pPr>
            <a:r>
              <a:rPr lang="es-CO" sz="1055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os </a:t>
            </a:r>
            <a:r>
              <a:rPr lang="es-CO" sz="1055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amentales</a:t>
            </a:r>
          </a:p>
          <a:p>
            <a:pPr marL="241093" indent="-241093">
              <a:buFont typeface="+mj-lt"/>
              <a:buAutoNum type="arabicPeriod"/>
            </a:pPr>
            <a:r>
              <a:rPr lang="es-CO" sz="1055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ciones de Nombres</a:t>
            </a:r>
          </a:p>
          <a:p>
            <a:pPr marL="241093" indent="-241093">
              <a:buFont typeface="+mj-lt"/>
              <a:buAutoNum type="arabicPeriod"/>
            </a:pPr>
            <a:r>
              <a:rPr lang="es-CO" sz="1055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os</a:t>
            </a:r>
            <a:endParaRPr lang="es-CO" sz="1055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093" indent="-241093">
              <a:buFont typeface="+mj-lt"/>
              <a:buAutoNum type="arabicPeriod"/>
            </a:pPr>
            <a:r>
              <a:rPr lang="es-CO" sz="1055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</a:t>
            </a:r>
            <a:endParaRPr lang="es-CO" sz="1055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093" indent="-241093">
              <a:buFont typeface="+mj-lt"/>
              <a:buAutoNum type="arabicPeriod"/>
            </a:pPr>
            <a:r>
              <a:rPr lang="es-CO" sz="1055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jemplo</a:t>
            </a:r>
          </a:p>
          <a:p>
            <a:pPr marL="241093" indent="-241093">
              <a:buFont typeface="+mj-lt"/>
              <a:buAutoNum type="arabicPeriod"/>
            </a:pPr>
            <a:r>
              <a:rPr lang="es-CO" sz="1055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ler</a:t>
            </a:r>
            <a:endParaRPr lang="es-CO" sz="1055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093" indent="-241093">
              <a:buFont typeface="+mj-lt"/>
              <a:buAutoNum type="arabicPeriod"/>
            </a:pPr>
            <a:r>
              <a:rPr lang="es-CO" sz="1055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ias</a:t>
            </a:r>
          </a:p>
        </p:txBody>
      </p:sp>
      <p:sp>
        <p:nvSpPr>
          <p:cNvPr id="7" name="CuadroTexto 6"/>
          <p:cNvSpPr txBox="1"/>
          <p:nvPr/>
        </p:nvSpPr>
        <p:spPr>
          <a:xfrm rot="20045567">
            <a:off x="584146" y="4340776"/>
            <a:ext cx="2227748" cy="362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758" b="1" dirty="0">
                <a:solidFill>
                  <a:schemeClr val="tx2">
                    <a:lumMod val="75000"/>
                  </a:schemeClr>
                </a:solidFill>
                <a:latin typeface="MicrogrammaDMedExt" panose="020B0607030502060204" pitchFamily="34" charset="0"/>
              </a:rPr>
              <a:t>BPMN</a:t>
            </a:r>
          </a:p>
        </p:txBody>
      </p:sp>
      <p:pic>
        <p:nvPicPr>
          <p:cNvPr id="1026" name="Picture 2" descr="Resultado de imagen para bancolombi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974009">
            <a:off x="4327085" y="5173087"/>
            <a:ext cx="1766764" cy="461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784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7779598"/>
              </p:ext>
            </p:extLst>
          </p:nvPr>
        </p:nvGraphicFramePr>
        <p:xfrm>
          <a:off x="401529" y="757650"/>
          <a:ext cx="8044639" cy="5434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7716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0344"/>
            <a:ext cx="8229600" cy="5015820"/>
          </a:xfrm>
        </p:spPr>
        <p:txBody>
          <a:bodyPr>
            <a:normAutofit fontScale="92500" lnSpcReduction="20000"/>
          </a:bodyPr>
          <a:lstStyle/>
          <a:p>
            <a:r>
              <a:rPr lang="es-CO" b="1" dirty="0"/>
              <a:t>Enunciado:</a:t>
            </a:r>
            <a:r>
              <a:rPr lang="es-CO" dirty="0"/>
              <a:t> Proceso para solicitud de viaje:</a:t>
            </a:r>
          </a:p>
          <a:p>
            <a:r>
              <a:rPr lang="es-CO" dirty="0"/>
              <a:t>El proceso se inicia cuando cualquier empleado presenta una solicitud de viaje, el empleado puede solicitar  un tiquete y reserva de hotel, el jefe aprueba la solicitud,  si es aprobada el departamento administrativo realiza las reservas y notifica las reservas con información de las mismas y compra los tiquetes, finalmente el empleado graba los gastos realizados durante el viaje y estos son aprobados por el departamento administrativo y grabados de forma automática en el sistema de contabilidad.</a:t>
            </a:r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924273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>
          <a:xfrm>
            <a:off x="685800" y="665811"/>
            <a:ext cx="7772400" cy="1470025"/>
          </a:xfrm>
        </p:spPr>
        <p:txBody>
          <a:bodyPr anchor="ctr">
            <a:normAutofit/>
          </a:bodyPr>
          <a:lstStyle/>
          <a:p>
            <a:r>
              <a:rPr lang="es-CO" dirty="0">
                <a:solidFill>
                  <a:schemeClr val="tx2">
                    <a:lumMod val="75000"/>
                  </a:schemeClr>
                </a:solidFill>
              </a:rPr>
              <a:t>Referencias y Lecturas Recomendadas</a:t>
            </a:r>
          </a:p>
        </p:txBody>
      </p:sp>
      <p:sp>
        <p:nvSpPr>
          <p:cNvPr id="2" name="Marcador de contenido 1"/>
          <p:cNvSpPr>
            <a:spLocks noGrp="1"/>
          </p:cNvSpPr>
          <p:nvPr>
            <p:ph type="subTitle" idx="1"/>
          </p:nvPr>
        </p:nvSpPr>
        <p:spPr>
          <a:xfrm>
            <a:off x="540913" y="2559676"/>
            <a:ext cx="7508383" cy="1752600"/>
          </a:xfrm>
        </p:spPr>
        <p:txBody>
          <a:bodyPr>
            <a:noAutofit/>
          </a:bodyPr>
          <a:lstStyle/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ard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Óscar, Introducción a BPMN, Encontrado en: http://bpmn-bayard.blogspot.com.co/2012/02/812-evento.html# </a:t>
            </a:r>
          </a:p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N 2.0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agi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ite,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agi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4.</a:t>
            </a:r>
          </a:p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MAS Marlon y otros, Fundamentals of Business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agement, Ed.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inger</a:t>
            </a:r>
            <a:endParaRPr lang="es-CO" sz="16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wlett Packard Enterprise (HPE), Business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s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yo 2016</a:t>
            </a:r>
          </a:p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G,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cess Model and Notation (BPMN),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o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1,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ón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.0.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ontrado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8600" indent="-228600" algn="just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s-CO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DAD DE SEVILLA, Modelado Básico con BPMN. Gestión de Procesos y Servicios </a:t>
            </a: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-2925374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59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>
          <a:xfrm>
            <a:off x="-2684042" y="-205162"/>
            <a:ext cx="7772400" cy="1470025"/>
          </a:xfrm>
        </p:spPr>
        <p:txBody>
          <a:bodyPr anchor="ctr"/>
          <a:lstStyle/>
          <a:p>
            <a:r>
              <a:rPr lang="es-CO" dirty="0">
                <a:solidFill>
                  <a:schemeClr val="bg1"/>
                </a:solidFill>
              </a:rPr>
              <a:t>BPMN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>
          <a:xfrm>
            <a:off x="-1828800" y="1021396"/>
            <a:ext cx="6400800" cy="1752600"/>
          </a:xfrm>
        </p:spPr>
        <p:txBody>
          <a:bodyPr anchor="ctr"/>
          <a:lstStyle/>
          <a:p>
            <a:r>
              <a:rPr lang="es-CO" b="1" dirty="0">
                <a:solidFill>
                  <a:schemeClr val="tx2">
                    <a:lumMod val="75000"/>
                  </a:schemeClr>
                </a:solidFill>
              </a:rPr>
              <a:t>Qué es?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4363" y="2365757"/>
            <a:ext cx="3359979" cy="3189729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268397" y="2517649"/>
            <a:ext cx="5145966" cy="2883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1822" indent="-401822" algn="just">
              <a:buFont typeface="Wingdings" panose="05000000000000000000" pitchFamily="2" charset="2"/>
              <a:buChar char="q"/>
            </a:pP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N viene de Business </a:t>
            </a:r>
            <a:r>
              <a:rPr lang="es-ES" sz="2109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109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109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s-ES" sz="2109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ation</a:t>
            </a: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(Notación </a:t>
            </a:r>
            <a:r>
              <a:rPr lang="es-ES" sz="2109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 </a:t>
            </a: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ado de Procesos de Negocio).</a:t>
            </a:r>
          </a:p>
          <a:p>
            <a:pPr marL="401822" indent="-401822" algn="just">
              <a:buFont typeface="Wingdings" panose="05000000000000000000" pitchFamily="2" charset="2"/>
              <a:buChar char="q"/>
            </a:pP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un estándar de representación gráfica de procesos de negocio </a:t>
            </a:r>
          </a:p>
          <a:p>
            <a:pPr marL="401822" indent="-401822" algn="just">
              <a:buFont typeface="Wingdings" panose="05000000000000000000" pitchFamily="2" charset="2"/>
              <a:buChar char="q"/>
            </a:pPr>
            <a:r>
              <a:rPr lang="es-ES" sz="2109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tende ser un lenguaje accesible tanto para desarrolladores como para clientes y directivos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s-CO" sz="1266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839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7107" y="1822007"/>
            <a:ext cx="7898378" cy="4002939"/>
          </a:xfrm>
          <a:prstGeom prst="rect">
            <a:avLst/>
          </a:prstGeom>
        </p:spPr>
      </p:pic>
      <p:sp>
        <p:nvSpPr>
          <p:cNvPr id="18" name="36 Rectángulo redondeado"/>
          <p:cNvSpPr/>
          <p:nvPr/>
        </p:nvSpPr>
        <p:spPr>
          <a:xfrm>
            <a:off x="2230111" y="1314999"/>
            <a:ext cx="1388851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 smtClean="0">
                <a:solidFill>
                  <a:prstClr val="white"/>
                </a:solidFill>
                <a:latin typeface="Arial Narrow"/>
              </a:rPr>
              <a:t>Actividades/Tareas</a:t>
            </a:r>
            <a:endParaRPr lang="es-CO" sz="1266" kern="0" dirty="0">
              <a:solidFill>
                <a:prstClr val="white"/>
              </a:solidFill>
              <a:latin typeface="Arial Narrow"/>
            </a:endParaRPr>
          </a:p>
        </p:txBody>
      </p:sp>
      <p:cxnSp>
        <p:nvCxnSpPr>
          <p:cNvPr id="19" name="Conector recto de flecha 18"/>
          <p:cNvCxnSpPr>
            <a:stCxn id="18" idx="2"/>
          </p:cNvCxnSpPr>
          <p:nvPr/>
        </p:nvCxnSpPr>
        <p:spPr>
          <a:xfrm flipH="1">
            <a:off x="2078223" y="1767068"/>
            <a:ext cx="846314" cy="864328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/>
          <p:cNvCxnSpPr>
            <a:stCxn id="18" idx="2"/>
          </p:cNvCxnSpPr>
          <p:nvPr/>
        </p:nvCxnSpPr>
        <p:spPr>
          <a:xfrm>
            <a:off x="2924537" y="1767068"/>
            <a:ext cx="115666" cy="864328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36 Rectángulo redondeado"/>
          <p:cNvSpPr/>
          <p:nvPr/>
        </p:nvSpPr>
        <p:spPr>
          <a:xfrm>
            <a:off x="2242991" y="4049053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Flujos de Secuencia</a:t>
            </a:r>
          </a:p>
        </p:txBody>
      </p:sp>
      <p:cxnSp>
        <p:nvCxnSpPr>
          <p:cNvPr id="24" name="Conector recto de flecha 23"/>
          <p:cNvCxnSpPr>
            <a:stCxn id="23" idx="3"/>
          </p:cNvCxnSpPr>
          <p:nvPr/>
        </p:nvCxnSpPr>
        <p:spPr>
          <a:xfrm flipV="1">
            <a:off x="3498737" y="3188333"/>
            <a:ext cx="1984614" cy="1086755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36 Rectángulo redondeado"/>
          <p:cNvSpPr/>
          <p:nvPr/>
        </p:nvSpPr>
        <p:spPr>
          <a:xfrm>
            <a:off x="7407315" y="1061846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Eventos</a:t>
            </a:r>
          </a:p>
        </p:txBody>
      </p:sp>
      <p:cxnSp>
        <p:nvCxnSpPr>
          <p:cNvPr id="26" name="Conector recto de flecha 25"/>
          <p:cNvCxnSpPr>
            <a:stCxn id="25" idx="2"/>
          </p:cNvCxnSpPr>
          <p:nvPr/>
        </p:nvCxnSpPr>
        <p:spPr>
          <a:xfrm>
            <a:off x="8035188" y="1513915"/>
            <a:ext cx="0" cy="1486862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36 Rectángulo redondeado"/>
          <p:cNvSpPr/>
          <p:nvPr/>
        </p:nvSpPr>
        <p:spPr>
          <a:xfrm>
            <a:off x="5179568" y="1163107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Compuerta</a:t>
            </a:r>
          </a:p>
        </p:txBody>
      </p:sp>
      <p:cxnSp>
        <p:nvCxnSpPr>
          <p:cNvPr id="28" name="Conector recto de flecha 27"/>
          <p:cNvCxnSpPr>
            <a:stCxn id="27" idx="2"/>
          </p:cNvCxnSpPr>
          <p:nvPr/>
        </p:nvCxnSpPr>
        <p:spPr>
          <a:xfrm flipH="1">
            <a:off x="4116325" y="1615176"/>
            <a:ext cx="1691115" cy="1218742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ítulo 2"/>
          <p:cNvSpPr>
            <a:spLocks noGrp="1"/>
          </p:cNvSpPr>
          <p:nvPr>
            <p:ph type="ctrTitle"/>
          </p:nvPr>
        </p:nvSpPr>
        <p:spPr>
          <a:xfrm>
            <a:off x="-2684042" y="-205162"/>
            <a:ext cx="7772400" cy="1470025"/>
          </a:xfrm>
        </p:spPr>
        <p:txBody>
          <a:bodyPr anchor="ctr"/>
          <a:lstStyle/>
          <a:p>
            <a:r>
              <a:rPr lang="es-CO" dirty="0">
                <a:solidFill>
                  <a:schemeClr val="bg1"/>
                </a:solidFill>
              </a:rPr>
              <a:t>BPMN</a:t>
            </a:r>
          </a:p>
        </p:txBody>
      </p:sp>
      <p:sp>
        <p:nvSpPr>
          <p:cNvPr id="13" name="36 Rectángulo redondeado"/>
          <p:cNvSpPr/>
          <p:nvPr/>
        </p:nvSpPr>
        <p:spPr>
          <a:xfrm>
            <a:off x="2242991" y="4713667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 smtClean="0">
                <a:solidFill>
                  <a:prstClr val="white"/>
                </a:solidFill>
                <a:latin typeface="Arial Narrow"/>
              </a:rPr>
              <a:t>Actores</a:t>
            </a:r>
            <a:endParaRPr lang="es-CO" sz="1266" kern="0" dirty="0">
              <a:solidFill>
                <a:prstClr val="white"/>
              </a:solidFill>
              <a:latin typeface="Arial Narrow"/>
            </a:endParaRPr>
          </a:p>
        </p:txBody>
      </p:sp>
      <p:cxnSp>
        <p:nvCxnSpPr>
          <p:cNvPr id="14" name="Conector recto de flecha 13"/>
          <p:cNvCxnSpPr/>
          <p:nvPr/>
        </p:nvCxnSpPr>
        <p:spPr>
          <a:xfrm flipH="1">
            <a:off x="1309331" y="4842456"/>
            <a:ext cx="1124776" cy="535174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6 Rectángulo redondeado"/>
          <p:cNvSpPr/>
          <p:nvPr/>
        </p:nvSpPr>
        <p:spPr>
          <a:xfrm>
            <a:off x="0" y="1163107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 smtClean="0">
                <a:solidFill>
                  <a:prstClr val="white"/>
                </a:solidFill>
                <a:latin typeface="Arial Narrow"/>
              </a:rPr>
              <a:t>Proceso</a:t>
            </a:r>
            <a:endParaRPr lang="es-CO" sz="1266" kern="0" dirty="0">
              <a:solidFill>
                <a:prstClr val="white"/>
              </a:solidFill>
              <a:latin typeface="Arial Narrow"/>
            </a:endParaRPr>
          </a:p>
        </p:txBody>
      </p:sp>
      <p:cxnSp>
        <p:nvCxnSpPr>
          <p:cNvPr id="22" name="Conector recto de flecha 21"/>
          <p:cNvCxnSpPr/>
          <p:nvPr/>
        </p:nvCxnSpPr>
        <p:spPr>
          <a:xfrm>
            <a:off x="682634" y="1615176"/>
            <a:ext cx="80956" cy="1631001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14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5" grpId="0" animBg="1"/>
      <p:bldP spid="27" grpId="0" animBg="1"/>
      <p:bldP spid="13" grpId="0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r>
              <a:rPr lang="es-CO" dirty="0"/>
              <a:t>Tarea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948" y="3116719"/>
            <a:ext cx="7411184" cy="2329009"/>
          </a:xfrm>
          <a:prstGeom prst="rect">
            <a:avLst/>
          </a:prstGeom>
        </p:spPr>
      </p:pic>
      <p:sp>
        <p:nvSpPr>
          <p:cNvPr id="11" name="36 Rectángulo redondeado"/>
          <p:cNvSpPr/>
          <p:nvPr/>
        </p:nvSpPr>
        <p:spPr>
          <a:xfrm>
            <a:off x="4116324" y="2264495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Tareas</a:t>
            </a:r>
          </a:p>
        </p:txBody>
      </p:sp>
      <p:cxnSp>
        <p:nvCxnSpPr>
          <p:cNvPr id="12" name="Conector recto de flecha 11"/>
          <p:cNvCxnSpPr>
            <a:stCxn id="11" idx="2"/>
          </p:cNvCxnSpPr>
          <p:nvPr/>
        </p:nvCxnSpPr>
        <p:spPr>
          <a:xfrm flipH="1">
            <a:off x="3255604" y="2716564"/>
            <a:ext cx="1488594" cy="1066850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de flecha 13"/>
          <p:cNvCxnSpPr>
            <a:stCxn id="11" idx="2"/>
          </p:cNvCxnSpPr>
          <p:nvPr/>
        </p:nvCxnSpPr>
        <p:spPr>
          <a:xfrm>
            <a:off x="4744198" y="2716564"/>
            <a:ext cx="30325" cy="1117481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de flecha 16"/>
          <p:cNvCxnSpPr>
            <a:stCxn id="11" idx="2"/>
          </p:cNvCxnSpPr>
          <p:nvPr/>
        </p:nvCxnSpPr>
        <p:spPr>
          <a:xfrm>
            <a:off x="4744198" y="2716564"/>
            <a:ext cx="1954289" cy="1066850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3"/>
          <p:cNvSpPr txBox="1">
            <a:spLocks/>
          </p:cNvSpPr>
          <p:nvPr/>
        </p:nvSpPr>
        <p:spPr>
          <a:xfrm>
            <a:off x="278296" y="906500"/>
            <a:ext cx="8733182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smtClean="0">
                <a:solidFill>
                  <a:schemeClr val="tx2">
                    <a:lumMod val="75000"/>
                  </a:schemeClr>
                </a:solidFill>
              </a:rPr>
              <a:t>Actividades/Tareas</a:t>
            </a:r>
            <a:endParaRPr lang="es-CO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3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599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>
          <a:xfrm>
            <a:off x="319028" y="978347"/>
            <a:ext cx="6400800" cy="1752600"/>
          </a:xfrm>
        </p:spPr>
        <p:txBody>
          <a:bodyPr anchor="ctr"/>
          <a:lstStyle/>
          <a:p>
            <a:r>
              <a:rPr lang="es-CO" b="1" dirty="0">
                <a:solidFill>
                  <a:schemeClr val="tx2">
                    <a:lumMod val="75000"/>
                  </a:schemeClr>
                </a:solidFill>
              </a:rPr>
              <a:t>Tipos de </a:t>
            </a:r>
            <a:r>
              <a:rPr lang="es-CO" b="1" dirty="0" smtClean="0">
                <a:solidFill>
                  <a:schemeClr val="tx2">
                    <a:lumMod val="75000"/>
                  </a:schemeClr>
                </a:solidFill>
              </a:rPr>
              <a:t>Actividades/Tareas</a:t>
            </a:r>
            <a:endParaRPr lang="es-CO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6" name="Marcador de contenido 2"/>
          <p:cNvSpPr txBox="1">
            <a:spLocks/>
          </p:cNvSpPr>
          <p:nvPr/>
        </p:nvSpPr>
        <p:spPr>
          <a:xfrm>
            <a:off x="319028" y="2821433"/>
            <a:ext cx="3763575" cy="203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457200" indent="-457200">
              <a:buFont typeface="Arial" panose="020B0604020202020204" pitchFamily="34" charset="0"/>
              <a:buChar char="•"/>
              <a:defRPr sz="3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sz="2109" b="0" dirty="0" smtClean="0">
                <a:solidFill>
                  <a:schemeClr val="tx2">
                    <a:lumMod val="75000"/>
                  </a:schemeClr>
                </a:solidFill>
              </a:rPr>
              <a:t>Se </a:t>
            </a:r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emplea cuando el trabajo es indivisible atómico, simple</a:t>
            </a:r>
          </a:p>
          <a:p>
            <a:r>
              <a:rPr lang="es-CO" sz="2109" b="0" dirty="0">
                <a:solidFill>
                  <a:schemeClr val="tx2">
                    <a:lumMod val="75000"/>
                  </a:schemeClr>
                </a:solidFill>
              </a:rPr>
              <a:t>Las de Recepción, Envío y Servicio con las más usadas  </a:t>
            </a:r>
            <a:endParaRPr lang="es-CO" sz="2109" b="0" dirty="0">
              <a:solidFill>
                <a:schemeClr val="tx2">
                  <a:lumMod val="75000"/>
                </a:schemeClr>
              </a:solidFill>
              <a:sym typeface="Helvetica Light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0000" contrast="-40000"/>
          </a:blip>
          <a:srcRect t="3910"/>
          <a:stretch/>
        </p:blipFill>
        <p:spPr>
          <a:xfrm>
            <a:off x="3802318" y="3039415"/>
            <a:ext cx="5258012" cy="1899022"/>
          </a:xfrm>
          <a:prstGeom prst="rect">
            <a:avLst/>
          </a:prstGeom>
        </p:spPr>
      </p:pic>
      <p:sp>
        <p:nvSpPr>
          <p:cNvPr id="7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6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sultado de imagen para naming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156" y="3420166"/>
            <a:ext cx="2651844" cy="268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Marcador de contenido 2"/>
          <p:cNvSpPr txBox="1">
            <a:spLocks/>
          </p:cNvSpPr>
          <p:nvPr/>
        </p:nvSpPr>
        <p:spPr>
          <a:xfrm>
            <a:off x="369658" y="2213865"/>
            <a:ext cx="6675086" cy="3290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457200" indent="-457200">
              <a:buFont typeface="Arial" panose="020B0604020202020204" pitchFamily="34" charset="0"/>
              <a:buChar char="•"/>
              <a:defRPr sz="3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sz="2109" dirty="0" smtClean="0">
                <a:solidFill>
                  <a:schemeClr val="tx2"/>
                </a:solidFill>
              </a:rPr>
              <a:t>Actividades:  </a:t>
            </a:r>
            <a:r>
              <a:rPr lang="es-CO" sz="2109" b="0" dirty="0" smtClean="0">
                <a:solidFill>
                  <a:schemeClr val="tx2"/>
                </a:solidFill>
              </a:rPr>
              <a:t>Verbo en infinitivo + nombre (Primera letra mayúsculas) - </a:t>
            </a:r>
            <a:r>
              <a:rPr lang="es-CO" sz="2109" i="1" dirty="0" smtClean="0">
                <a:solidFill>
                  <a:schemeClr val="tx2"/>
                </a:solidFill>
              </a:rPr>
              <a:t>Aprobar orden</a:t>
            </a:r>
          </a:p>
          <a:p>
            <a:endParaRPr lang="es-CO" sz="2109" i="1" u="sng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2109" dirty="0" smtClean="0">
                <a:solidFill>
                  <a:schemeClr val="tx2"/>
                </a:solidFill>
              </a:rPr>
              <a:t>Eventos: </a:t>
            </a:r>
            <a:r>
              <a:rPr lang="es-CO" sz="2109" b="0" dirty="0" smtClean="0">
                <a:solidFill>
                  <a:schemeClr val="tx2"/>
                </a:solidFill>
              </a:rPr>
              <a:t>Nombre + Participio  </a:t>
            </a:r>
          </a:p>
          <a:p>
            <a:pPr marL="0" indent="0">
              <a:buNone/>
            </a:pPr>
            <a:r>
              <a:rPr lang="es-CO" sz="2109" b="0" dirty="0">
                <a:solidFill>
                  <a:schemeClr val="tx2"/>
                </a:solidFill>
              </a:rPr>
              <a:t> </a:t>
            </a:r>
            <a:r>
              <a:rPr lang="es-CO" sz="2109" b="0" dirty="0" smtClean="0">
                <a:solidFill>
                  <a:schemeClr val="tx2"/>
                </a:solidFill>
              </a:rPr>
              <a:t>	(</a:t>
            </a:r>
            <a:r>
              <a:rPr lang="es-CO" sz="2109" b="0" dirty="0">
                <a:solidFill>
                  <a:schemeClr val="tx2"/>
                </a:solidFill>
              </a:rPr>
              <a:t>Primera letra </a:t>
            </a:r>
            <a:r>
              <a:rPr lang="es-CO" sz="2109" b="0" dirty="0" smtClean="0">
                <a:solidFill>
                  <a:schemeClr val="tx2"/>
                </a:solidFill>
              </a:rPr>
              <a:t>mayúsculas) - </a:t>
            </a:r>
            <a:r>
              <a:rPr lang="es-CO" sz="2109" i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ura emitida</a:t>
            </a:r>
            <a:endParaRPr lang="es-CO" sz="2109" i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s-CO" sz="2109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2109" dirty="0">
                <a:solidFill>
                  <a:schemeClr val="tx2"/>
                </a:solidFill>
              </a:rPr>
              <a:t>Procesos:</a:t>
            </a:r>
            <a:r>
              <a:rPr lang="es-CO" sz="2109" b="0" dirty="0">
                <a:solidFill>
                  <a:schemeClr val="tx2"/>
                </a:solidFill>
              </a:rPr>
              <a:t> </a:t>
            </a:r>
            <a:r>
              <a:rPr lang="es-CO" sz="2109" b="0" dirty="0" smtClean="0">
                <a:solidFill>
                  <a:schemeClr val="tx2"/>
                </a:solidFill>
              </a:rPr>
              <a:t>Nombre + Adjetivo  </a:t>
            </a:r>
          </a:p>
          <a:p>
            <a:pPr marL="0" indent="0">
              <a:buNone/>
            </a:pPr>
            <a:r>
              <a:rPr lang="es-CO" sz="2109" b="0" dirty="0">
                <a:solidFill>
                  <a:schemeClr val="tx2"/>
                </a:solidFill>
              </a:rPr>
              <a:t>	</a:t>
            </a:r>
            <a:r>
              <a:rPr lang="es-CO" sz="2109" b="0" dirty="0" smtClean="0">
                <a:solidFill>
                  <a:schemeClr val="tx2"/>
                </a:solidFill>
              </a:rPr>
              <a:t>(</a:t>
            </a:r>
            <a:r>
              <a:rPr lang="es-CO" sz="2109" b="0" dirty="0">
                <a:solidFill>
                  <a:schemeClr val="tx2"/>
                </a:solidFill>
              </a:rPr>
              <a:t>Primera letra mayúsculas) </a:t>
            </a:r>
            <a:endParaRPr lang="es-CO" sz="2109" b="0" dirty="0" smtClean="0">
              <a:solidFill>
                <a:schemeClr val="tx2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O" dirty="0">
                <a:solidFill>
                  <a:schemeClr val="tx2"/>
                </a:solidFill>
              </a:rPr>
              <a:t>Evitar nombres muy largos (&lt; 5 palabras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O" dirty="0">
                <a:solidFill>
                  <a:schemeClr val="tx2"/>
                </a:solidFill>
              </a:rPr>
              <a:t>Evitar verbos genéricos (ej. </a:t>
            </a:r>
            <a:r>
              <a:rPr lang="es-CO" dirty="0" smtClean="0">
                <a:solidFill>
                  <a:schemeClr val="tx2"/>
                </a:solidFill>
              </a:rPr>
              <a:t>Hacer) - </a:t>
            </a:r>
            <a:r>
              <a:rPr lang="es-CO" sz="2109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</a:t>
            </a:r>
            <a:r>
              <a:rPr lang="es-CO" sz="2109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CO" sz="2109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os</a:t>
            </a:r>
            <a:endParaRPr lang="es-CO" sz="2109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Marcador de texto 3"/>
          <p:cNvSpPr txBox="1">
            <a:spLocks/>
          </p:cNvSpPr>
          <p:nvPr/>
        </p:nvSpPr>
        <p:spPr>
          <a:xfrm>
            <a:off x="-2603336" y="1106120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chemeClr val="tx2">
                    <a:lumMod val="75000"/>
                  </a:schemeClr>
                </a:solidFill>
              </a:rPr>
              <a:t>Convenciones de Nombres</a:t>
            </a:r>
            <a:endParaRPr lang="es-CO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Título 2"/>
          <p:cNvSpPr>
            <a:spLocks noGrp="1"/>
          </p:cNvSpPr>
          <p:nvPr>
            <p:ph type="ctrTitle"/>
          </p:nvPr>
        </p:nvSpPr>
        <p:spPr>
          <a:xfrm>
            <a:off x="-2684042" y="-205162"/>
            <a:ext cx="7772400" cy="1470025"/>
          </a:xfrm>
        </p:spPr>
        <p:txBody>
          <a:bodyPr anchor="ctr"/>
          <a:lstStyle/>
          <a:p>
            <a:r>
              <a:rPr lang="es-CO" dirty="0">
                <a:solidFill>
                  <a:schemeClr val="bg1"/>
                </a:solidFill>
              </a:rPr>
              <a:t>BPMN</a:t>
            </a:r>
          </a:p>
        </p:txBody>
      </p:sp>
    </p:spTree>
    <p:extLst>
      <p:ext uri="{BB962C8B-B14F-4D97-AF65-F5344CB8AC3E}">
        <p14:creationId xmlns:p14="http://schemas.microsoft.com/office/powerpoint/2010/main" val="3150766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>
          <a:xfrm>
            <a:off x="704164" y="3031181"/>
            <a:ext cx="8040644" cy="1470025"/>
          </a:xfrm>
        </p:spPr>
        <p:txBody>
          <a:bodyPr anchor="ctr"/>
          <a:lstStyle/>
          <a:p>
            <a:r>
              <a:rPr lang="es-CO" dirty="0"/>
              <a:t>BPMN - Elementos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r>
              <a:rPr lang="es-CO" dirty="0"/>
              <a:t>Compuertas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490" y="3469035"/>
            <a:ext cx="8626126" cy="3240360"/>
          </a:xfrm>
          <a:prstGeom prst="rect">
            <a:avLst/>
          </a:prstGeom>
        </p:spPr>
      </p:pic>
      <p:sp>
        <p:nvSpPr>
          <p:cNvPr id="9" name="36 Rectángulo redondeado"/>
          <p:cNvSpPr/>
          <p:nvPr/>
        </p:nvSpPr>
        <p:spPr>
          <a:xfrm>
            <a:off x="3776290" y="2982893"/>
            <a:ext cx="1255746" cy="452069"/>
          </a:xfrm>
          <a:prstGeom prst="roundRect">
            <a:avLst/>
          </a:prstGeom>
          <a:solidFill>
            <a:srgbClr val="01A982"/>
          </a:solidFill>
          <a:ln w="25400" cap="flat" cmpd="sng" algn="ctr">
            <a:solidFill>
              <a:srgbClr val="01A982"/>
            </a:solidFill>
            <a:prstDash val="solid"/>
          </a:ln>
          <a:effectLst/>
        </p:spPr>
        <p:txBody>
          <a:bodyPr rtlCol="0" anchor="ctr"/>
          <a:lstStyle/>
          <a:p>
            <a:pPr algn="ctr" defTabSz="321457">
              <a:defRPr/>
            </a:pPr>
            <a:r>
              <a:rPr lang="es-CO" sz="1266" kern="0" dirty="0">
                <a:solidFill>
                  <a:prstClr val="white"/>
                </a:solidFill>
                <a:latin typeface="Arial Narrow"/>
              </a:rPr>
              <a:t>Compuerta</a:t>
            </a:r>
          </a:p>
        </p:txBody>
      </p:sp>
      <p:cxnSp>
        <p:nvCxnSpPr>
          <p:cNvPr id="10" name="Conector recto de flecha 9"/>
          <p:cNvCxnSpPr/>
          <p:nvPr/>
        </p:nvCxnSpPr>
        <p:spPr>
          <a:xfrm flipH="1">
            <a:off x="2756454" y="3281635"/>
            <a:ext cx="1447056" cy="2027344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de flecha 12"/>
          <p:cNvCxnSpPr/>
          <p:nvPr/>
        </p:nvCxnSpPr>
        <p:spPr>
          <a:xfrm>
            <a:off x="4572000" y="3281635"/>
            <a:ext cx="2292824" cy="2122878"/>
          </a:xfrm>
          <a:prstGeom prst="straightConnector1">
            <a:avLst/>
          </a:prstGeom>
          <a:ln w="7620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3"/>
          <p:cNvSpPr txBox="1">
            <a:spLocks/>
          </p:cNvSpPr>
          <p:nvPr/>
        </p:nvSpPr>
        <p:spPr>
          <a:xfrm>
            <a:off x="-3444875" y="641377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1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259307" y="1440509"/>
            <a:ext cx="873530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600" dirty="0">
                <a:solidFill>
                  <a:srgbClr val="666666"/>
                </a:solidFill>
                <a:latin typeface="SegoeUI"/>
              </a:rPr>
              <a:t>Las compuertas se utilizan para controlar la divergencia y convergencia de flujos de </a:t>
            </a:r>
            <a:r>
              <a:rPr lang="es-CO" sz="1600" dirty="0" smtClean="0">
                <a:solidFill>
                  <a:srgbClr val="666666"/>
                </a:solidFill>
                <a:latin typeface="SegoeUI"/>
              </a:rPr>
              <a:t>secuencia. Determinan </a:t>
            </a:r>
            <a:r>
              <a:rPr lang="es-CO" sz="1600" dirty="0">
                <a:solidFill>
                  <a:srgbClr val="666666"/>
                </a:solidFill>
                <a:latin typeface="SegoeUI"/>
              </a:rPr>
              <a:t>ramificaciones, bifurcaciones, combinaciones y uniones en el proceso. El </a:t>
            </a:r>
            <a:r>
              <a:rPr lang="es-CO" sz="1600" dirty="0" smtClean="0">
                <a:solidFill>
                  <a:srgbClr val="666666"/>
                </a:solidFill>
                <a:latin typeface="SegoeUI"/>
              </a:rPr>
              <a:t>término “Compuerta</a:t>
            </a:r>
            <a:r>
              <a:rPr lang="es-CO" sz="1600" dirty="0">
                <a:solidFill>
                  <a:srgbClr val="666666"/>
                </a:solidFill>
                <a:latin typeface="SegoeUI"/>
              </a:rPr>
              <a:t>” implica que hay un mecanismo que permite o limita el paso a través de la misma.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1998523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" y="5732061"/>
            <a:ext cx="9144000" cy="1105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Marcador de texto 3"/>
          <p:cNvSpPr txBox="1">
            <a:spLocks/>
          </p:cNvSpPr>
          <p:nvPr/>
        </p:nvSpPr>
        <p:spPr>
          <a:xfrm>
            <a:off x="2223376" y="-23513"/>
            <a:ext cx="11217275" cy="869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 smtClean="0">
                <a:solidFill>
                  <a:schemeClr val="tx2">
                    <a:lumMod val="75000"/>
                  </a:schemeClr>
                </a:solidFill>
              </a:rPr>
              <a:t>Compuertas</a:t>
            </a:r>
            <a:endParaRPr lang="es-C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ítulo 2"/>
          <p:cNvSpPr txBox="1">
            <a:spLocks/>
          </p:cNvSpPr>
          <p:nvPr/>
        </p:nvSpPr>
        <p:spPr>
          <a:xfrm>
            <a:off x="-2294306" y="-323783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 smtClean="0">
                <a:solidFill>
                  <a:schemeClr val="bg1"/>
                </a:solidFill>
              </a:rPr>
              <a:t>BPMN - Elementos</a:t>
            </a:r>
            <a:endParaRPr lang="es-CO" sz="2800" dirty="0">
              <a:solidFill>
                <a:schemeClr val="bg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193" y="1146240"/>
            <a:ext cx="8379726" cy="1995376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943154" y="3736687"/>
            <a:ext cx="12802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Divergencia</a:t>
            </a:r>
            <a:endParaRPr lang="es-CO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66" y="4293966"/>
            <a:ext cx="2604047" cy="1438095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9632" y="4187550"/>
            <a:ext cx="3352381" cy="1561905"/>
          </a:xfrm>
          <a:prstGeom prst="rect">
            <a:avLst/>
          </a:prstGeom>
        </p:spPr>
      </p:pic>
      <p:sp>
        <p:nvSpPr>
          <p:cNvPr id="12" name="CuadroTexto 11"/>
          <p:cNvSpPr txBox="1"/>
          <p:nvPr/>
        </p:nvSpPr>
        <p:spPr>
          <a:xfrm>
            <a:off x="5018198" y="3519755"/>
            <a:ext cx="14272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Convergente 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8779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o99dpgM0WNNbGpl0.P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76zNgeUE225rPRwuQV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4lfrE_y.0._UUmm7W5b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h7UA68YEGTRD18QYeK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q_e_prrkalrZTtcJ1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_VPqh9USXz1dahgwY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xgnSq_eEq8mMCDPXvu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vLojhkF0imffHVPv_Q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1kIybBrk2NNxRAQgum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3BhFlwUS8w2JjAlxC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cWfDXPu0eaRyyM_w13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y0X1Y.o0y2_EXXRGx9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bOT2tWgjZEqNkyTCXOoS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uB.w6HvUmS1780yaOA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nahvGl0amiq72o9Sg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onRVj6U6PWeMn5Fek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cbowMbeEGY1vrdI9pdmA"/>
</p:tagLst>
</file>

<file path=ppt/theme/theme1.xml><?xml version="1.0" encoding="utf-8"?>
<a:theme xmlns:a="http://schemas.openxmlformats.org/drawingml/2006/main" name="Office Theme">
  <a:themeElements>
    <a:clrScheme name="Diego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ank">
  <a:themeElements>
    <a:clrScheme name="blank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E1"/>
      </a:accent1>
      <a:accent2>
        <a:srgbClr val="B2B2B2"/>
      </a:accent2>
      <a:accent3>
        <a:srgbClr val="FFFFFF"/>
      </a:accent3>
      <a:accent4>
        <a:srgbClr val="000000"/>
      </a:accent4>
      <a:accent5>
        <a:srgbClr val="FFFFEE"/>
      </a:accent5>
      <a:accent6>
        <a:srgbClr val="A1A1A1"/>
      </a:accent6>
      <a:hlink>
        <a:srgbClr val="005AAA"/>
      </a:hlink>
      <a:folHlink>
        <a:srgbClr val="00296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AEAEA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39FE7"/>
        </a:accent6>
        <a:hlink>
          <a:srgbClr val="005AAA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E1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EE"/>
        </a:accent5>
        <a:accent6>
          <a:srgbClr val="A1A1A1"/>
        </a:accent6>
        <a:hlink>
          <a:srgbClr val="005AAA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5030D4B4332F1409C2697EDC020802E" ma:contentTypeVersion="7" ma:contentTypeDescription="Crear nuevo documento." ma:contentTypeScope="" ma:versionID="2816546d935a9264102e4a8cf47fe493">
  <xsd:schema xmlns:xsd="http://www.w3.org/2001/XMLSchema" xmlns:xs="http://www.w3.org/2001/XMLSchema" xmlns:p="http://schemas.microsoft.com/office/2006/metadata/properties" xmlns:ns2="c0c5b589-871d-4ab7-8014-07863168aa56" targetNamespace="http://schemas.microsoft.com/office/2006/metadata/properties" ma:root="true" ma:fieldsID="5525c8e985eac195f8e7f50f905af612" ns2:_="">
    <xsd:import namespace="c0c5b589-871d-4ab7-8014-07863168aa56"/>
    <xsd:element name="properties">
      <xsd:complexType>
        <xsd:sequence>
          <xsd:element name="documentManagement">
            <xsd:complexType>
              <xsd:all>
                <xsd:element ref="ns2:Cap_x00ed_tul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c5b589-871d-4ab7-8014-07863168aa56" elementFormDefault="qualified">
    <xsd:import namespace="http://schemas.microsoft.com/office/2006/documentManagement/types"/>
    <xsd:import namespace="http://schemas.microsoft.com/office/infopath/2007/PartnerControls"/>
    <xsd:element name="Cap_x00ed_tulo" ma:index="8" nillable="true" ma:displayName="Capítulo" ma:default="Líderes de Pruebas" ma:format="Dropdown" ma:internalName="Cap_x00ed_tulo">
      <xsd:simpleType>
        <xsd:restriction base="dms:Choice">
          <xsd:enumeration value="Básico 2013"/>
          <xsd:enumeration value="Riesgos General"/>
          <xsd:enumeration value="RBT"/>
          <xsd:enumeration value="Diseño Estructurado"/>
          <xsd:enumeration value="Automatización"/>
          <xsd:enumeration value="Requisitos y Casos de Uso"/>
          <xsd:enumeration value="Líderes de Pruebas"/>
          <xsd:enumeration value="Pruebas de Usabilida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p_x00ed_tulo xmlns="c0c5b589-871d-4ab7-8014-07863168aa56">Líderes de Pruebas</Cap_x00ed_tulo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E1ED2C-7341-4730-9334-BDBB3CCC55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c5b589-871d-4ab7-8014-07863168aa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62D746-BE77-4613-BD00-07E1F928C81D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c0c5b589-871d-4ab7-8014-07863168aa5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E6B6FF0-EF47-44A9-B412-A247392817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500</TotalTime>
  <Words>770</Words>
  <Application>Microsoft Office PowerPoint</Application>
  <PresentationFormat>On-screen Show (4:3)</PresentationFormat>
  <Paragraphs>109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rial</vt:lpstr>
      <vt:lpstr>Arial Narrow</vt:lpstr>
      <vt:lpstr>Calibri</vt:lpstr>
      <vt:lpstr>Helvetica</vt:lpstr>
      <vt:lpstr>Helvetica Light</vt:lpstr>
      <vt:lpstr>MicrogrammaDMedExt</vt:lpstr>
      <vt:lpstr>SegoeUI</vt:lpstr>
      <vt:lpstr>Wingdings</vt:lpstr>
      <vt:lpstr>Office Theme</vt:lpstr>
      <vt:lpstr>blank</vt:lpstr>
      <vt:lpstr>think-cell Slide</vt:lpstr>
      <vt:lpstr> Bizagi Modelado de Procesos de Negocio</vt:lpstr>
      <vt:lpstr>PowerPoint Presentation</vt:lpstr>
      <vt:lpstr>BPMN</vt:lpstr>
      <vt:lpstr>BPMN</vt:lpstr>
      <vt:lpstr>PowerPoint Presentation</vt:lpstr>
      <vt:lpstr>PowerPoint Presentation</vt:lpstr>
      <vt:lpstr>BPMN</vt:lpstr>
      <vt:lpstr>BPMN - Elemento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PMN - Elementos</vt:lpstr>
      <vt:lpstr>PowerPoint Presentation</vt:lpstr>
      <vt:lpstr>PowerPoint Presentation</vt:lpstr>
      <vt:lpstr>TIPS</vt:lpstr>
      <vt:lpstr>TIPS</vt:lpstr>
      <vt:lpstr>TIPS</vt:lpstr>
      <vt:lpstr>PowerPoint Presentation</vt:lpstr>
      <vt:lpstr>PowerPoint Presentation</vt:lpstr>
      <vt:lpstr>Referencias y Lecturas Recomendad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os de Testing</dc:title>
  <dc:creator>Diego Leon Puerta Carvajal</dc:creator>
  <cp:lastModifiedBy>Juan Gomez Monsalve</cp:lastModifiedBy>
  <cp:revision>715</cp:revision>
  <dcterms:created xsi:type="dcterms:W3CDTF">2011-11-24T20:13:49Z</dcterms:created>
  <dcterms:modified xsi:type="dcterms:W3CDTF">2019-02-12T18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5030D4B4332F1409C2697EDC020802E</vt:lpwstr>
  </property>
  <property fmtid="{D5CDD505-2E9C-101B-9397-08002B2CF9AE}" pid="4" name="Order">
    <vt:r8>100</vt:r8>
  </property>
  <property fmtid="{D5CDD505-2E9C-101B-9397-08002B2CF9AE}" pid="5" name="Descripción">
    <vt:lpwstr>Primera sesión de la Escuela de Test Manager</vt:lpwstr>
  </property>
  <property fmtid="{D5CDD505-2E9C-101B-9397-08002B2CF9AE}" pid="6" name="xd_ProgID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TemplateUrl">
    <vt:lpwstr/>
  </property>
</Properties>
</file>